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  <p:sldMasterId id="2147483735" r:id="rId2"/>
  </p:sldMasterIdLst>
  <p:notesMasterIdLst>
    <p:notesMasterId r:id="rId4"/>
  </p:notesMasterIdLst>
  <p:sldIdLst>
    <p:sldId id="383" r:id="rId3"/>
  </p:sldIdLst>
  <p:sldSz cx="10439400" cy="7559675"/>
  <p:notesSz cx="6888163" cy="100203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4740" userDrawn="1">
          <p15:clr>
            <a:srgbClr val="A4A3A4"/>
          </p15:clr>
        </p15:guide>
        <p15:guide id="5" orient="horz" pos="340" userDrawn="1">
          <p15:clr>
            <a:srgbClr val="A4A3A4"/>
          </p15:clr>
        </p15:guide>
        <p15:guide id="6" pos="328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83C6"/>
    <a:srgbClr val="00B050"/>
    <a:srgbClr val="1CADE4"/>
    <a:srgbClr val="5BBEFB"/>
    <a:srgbClr val="012B9B"/>
    <a:srgbClr val="1D3DA3"/>
    <a:srgbClr val="2247C2"/>
    <a:srgbClr val="793D8B"/>
    <a:srgbClr val="0C82CA"/>
    <a:srgbClr val="C1C7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682" autoAdjust="0"/>
    <p:restoredTop sz="96404" autoAdjust="0"/>
  </p:normalViewPr>
  <p:slideViewPr>
    <p:cSldViewPr snapToGrid="0">
      <p:cViewPr varScale="1">
        <p:scale>
          <a:sx n="99" d="100"/>
          <a:sy n="99" d="100"/>
        </p:scale>
        <p:origin x="1194" y="96"/>
      </p:cViewPr>
      <p:guideLst>
        <p:guide orient="horz" pos="4740"/>
        <p:guide orient="horz" pos="340"/>
        <p:guide pos="3288"/>
      </p:guideLst>
    </p:cSldViewPr>
  </p:slideViewPr>
  <p:notesTextViewPr>
    <p:cViewPr>
      <p:scale>
        <a:sx n="150" d="100"/>
        <a:sy n="15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275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698" y="0"/>
            <a:ext cx="2984871" cy="50275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1592ED62-A49B-4A97-8495-5A6CB88D6D9D}" type="datetimeFigureOut">
              <a:rPr lang="ru-RU" smtClean="0"/>
              <a:t>03.06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09663" y="1252538"/>
            <a:ext cx="466883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822269"/>
            <a:ext cx="5510530" cy="3945493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517547"/>
            <a:ext cx="2984871" cy="50275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698" y="9517547"/>
            <a:ext cx="2984871" cy="50275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2FF20B68-44C0-41B4-9A46-DB5043EB0B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2240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20B68-44C0-41B4-9A46-DB5043EB0B1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4545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6178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069" y="503978"/>
            <a:ext cx="336697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38105" y="1088455"/>
            <a:ext cx="5284946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9069" y="2267902"/>
            <a:ext cx="336697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62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9910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70696" y="402483"/>
            <a:ext cx="2250996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710" y="402483"/>
            <a:ext cx="6622494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19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82955" y="1237197"/>
            <a:ext cx="8873490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04925" y="3970580"/>
            <a:ext cx="782955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856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185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72" y="1884671"/>
            <a:ext cx="9003983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2272" y="5059035"/>
            <a:ext cx="9003983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9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7709" y="2012414"/>
            <a:ext cx="4436745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84946" y="2012414"/>
            <a:ext cx="4436745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8860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068" y="402484"/>
            <a:ext cx="9003983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070" y="1853171"/>
            <a:ext cx="4416355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0" y="2761381"/>
            <a:ext cx="4416355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84947" y="1853171"/>
            <a:ext cx="4438105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84947" y="2761381"/>
            <a:ext cx="4438105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437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969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92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069" y="503978"/>
            <a:ext cx="336697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8105" y="1088455"/>
            <a:ext cx="5284946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9069" y="2267902"/>
            <a:ext cx="336697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82933">
              <a:defRPr/>
            </a:pPr>
            <a:fld id="{B9BF01E7-F603-409F-8B3F-2F788E4C8CD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6/3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82933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2933">
              <a:defRPr/>
            </a:pPr>
            <a:fld id="{826AC84E-9C7D-4653-B917-BCBBF2989C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82933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0070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6575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xStyles>
    <p:titleStyle>
      <a:lvl1pPr algn="l" defTabSz="783020" rtl="0" eaLnBrk="1" latinLnBrk="0" hangingPunct="1">
        <a:lnSpc>
          <a:spcPct val="90000"/>
        </a:lnSpc>
        <a:spcBef>
          <a:spcPct val="0"/>
        </a:spcBef>
        <a:buNone/>
        <a:defRPr sz="37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5754" indent="-195754" algn="l" defTabSz="783020" rtl="0" eaLnBrk="1" latinLnBrk="0" hangingPunct="1">
        <a:lnSpc>
          <a:spcPct val="90000"/>
        </a:lnSpc>
        <a:spcBef>
          <a:spcPts val="85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587266" indent="-195754" algn="l" defTabSz="783020" rtl="0" eaLnBrk="1" latinLnBrk="0" hangingPunct="1">
        <a:lnSpc>
          <a:spcPct val="90000"/>
        </a:lnSpc>
        <a:spcBef>
          <a:spcPts val="428"/>
        </a:spcBef>
        <a:buFont typeface="Arial" panose="020B0604020202020204" pitchFamily="34" charset="0"/>
        <a:buChar char="•"/>
        <a:defRPr sz="2055" kern="1200">
          <a:solidFill>
            <a:schemeClr val="tx1"/>
          </a:solidFill>
          <a:latin typeface="+mn-lt"/>
          <a:ea typeface="+mn-ea"/>
          <a:cs typeface="+mn-cs"/>
        </a:defRPr>
      </a:lvl2pPr>
      <a:lvl3pPr marL="978775" indent="-195754" algn="l" defTabSz="783020" rtl="0" eaLnBrk="1" latinLnBrk="0" hangingPunct="1">
        <a:lnSpc>
          <a:spcPct val="90000"/>
        </a:lnSpc>
        <a:spcBef>
          <a:spcPts val="428"/>
        </a:spcBef>
        <a:buFont typeface="Arial" panose="020B0604020202020204" pitchFamily="34" charset="0"/>
        <a:buChar char="•"/>
        <a:defRPr sz="1713" kern="1200">
          <a:solidFill>
            <a:schemeClr val="tx1"/>
          </a:solidFill>
          <a:latin typeface="+mn-lt"/>
          <a:ea typeface="+mn-ea"/>
          <a:cs typeface="+mn-cs"/>
        </a:defRPr>
      </a:lvl3pPr>
      <a:lvl4pPr marL="1370286" indent="-195754" algn="l" defTabSz="783020" rtl="0" eaLnBrk="1" latinLnBrk="0" hangingPunct="1">
        <a:lnSpc>
          <a:spcPct val="90000"/>
        </a:lnSpc>
        <a:spcBef>
          <a:spcPts val="428"/>
        </a:spcBef>
        <a:buFont typeface="Arial" panose="020B0604020202020204" pitchFamily="34" charset="0"/>
        <a:buChar char="•"/>
        <a:defRPr sz="1541" kern="1200">
          <a:solidFill>
            <a:schemeClr val="tx1"/>
          </a:solidFill>
          <a:latin typeface="+mn-lt"/>
          <a:ea typeface="+mn-ea"/>
          <a:cs typeface="+mn-cs"/>
        </a:defRPr>
      </a:lvl4pPr>
      <a:lvl5pPr marL="1761796" indent="-195754" algn="l" defTabSz="783020" rtl="0" eaLnBrk="1" latinLnBrk="0" hangingPunct="1">
        <a:lnSpc>
          <a:spcPct val="90000"/>
        </a:lnSpc>
        <a:spcBef>
          <a:spcPts val="428"/>
        </a:spcBef>
        <a:buFont typeface="Arial" panose="020B0604020202020204" pitchFamily="34" charset="0"/>
        <a:buChar char="•"/>
        <a:defRPr sz="1541" kern="1200">
          <a:solidFill>
            <a:schemeClr val="tx1"/>
          </a:solidFill>
          <a:latin typeface="+mn-lt"/>
          <a:ea typeface="+mn-ea"/>
          <a:cs typeface="+mn-cs"/>
        </a:defRPr>
      </a:lvl5pPr>
      <a:lvl6pPr marL="2153306" indent="-195754" algn="l" defTabSz="783020" rtl="0" eaLnBrk="1" latinLnBrk="0" hangingPunct="1">
        <a:lnSpc>
          <a:spcPct val="90000"/>
        </a:lnSpc>
        <a:spcBef>
          <a:spcPts val="428"/>
        </a:spcBef>
        <a:buFont typeface="Arial" panose="020B0604020202020204" pitchFamily="34" charset="0"/>
        <a:buChar char="•"/>
        <a:defRPr sz="1541" kern="1200">
          <a:solidFill>
            <a:schemeClr val="tx1"/>
          </a:solidFill>
          <a:latin typeface="+mn-lt"/>
          <a:ea typeface="+mn-ea"/>
          <a:cs typeface="+mn-cs"/>
        </a:defRPr>
      </a:lvl6pPr>
      <a:lvl7pPr marL="2544817" indent="-195754" algn="l" defTabSz="783020" rtl="0" eaLnBrk="1" latinLnBrk="0" hangingPunct="1">
        <a:lnSpc>
          <a:spcPct val="90000"/>
        </a:lnSpc>
        <a:spcBef>
          <a:spcPts val="428"/>
        </a:spcBef>
        <a:buFont typeface="Arial" panose="020B0604020202020204" pitchFamily="34" charset="0"/>
        <a:buChar char="•"/>
        <a:defRPr sz="1541" kern="1200">
          <a:solidFill>
            <a:schemeClr val="tx1"/>
          </a:solidFill>
          <a:latin typeface="+mn-lt"/>
          <a:ea typeface="+mn-ea"/>
          <a:cs typeface="+mn-cs"/>
        </a:defRPr>
      </a:lvl7pPr>
      <a:lvl8pPr marL="2936325" indent="-195754" algn="l" defTabSz="783020" rtl="0" eaLnBrk="1" latinLnBrk="0" hangingPunct="1">
        <a:lnSpc>
          <a:spcPct val="90000"/>
        </a:lnSpc>
        <a:spcBef>
          <a:spcPts val="428"/>
        </a:spcBef>
        <a:buFont typeface="Arial" panose="020B0604020202020204" pitchFamily="34" charset="0"/>
        <a:buChar char="•"/>
        <a:defRPr sz="1541" kern="1200">
          <a:solidFill>
            <a:schemeClr val="tx1"/>
          </a:solidFill>
          <a:latin typeface="+mn-lt"/>
          <a:ea typeface="+mn-ea"/>
          <a:cs typeface="+mn-cs"/>
        </a:defRPr>
      </a:lvl8pPr>
      <a:lvl9pPr marL="3327837" indent="-195754" algn="l" defTabSz="783020" rtl="0" eaLnBrk="1" latinLnBrk="0" hangingPunct="1">
        <a:lnSpc>
          <a:spcPct val="90000"/>
        </a:lnSpc>
        <a:spcBef>
          <a:spcPts val="428"/>
        </a:spcBef>
        <a:buFont typeface="Arial" panose="020B0604020202020204" pitchFamily="34" charset="0"/>
        <a:buChar char="•"/>
        <a:defRPr sz="15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83020" rtl="0" eaLnBrk="1" latinLnBrk="0" hangingPunct="1">
        <a:defRPr sz="1541" kern="1200">
          <a:solidFill>
            <a:schemeClr val="tx1"/>
          </a:solidFill>
          <a:latin typeface="+mn-lt"/>
          <a:ea typeface="+mn-ea"/>
          <a:cs typeface="+mn-cs"/>
        </a:defRPr>
      </a:lvl1pPr>
      <a:lvl2pPr marL="391511" algn="l" defTabSz="783020" rtl="0" eaLnBrk="1" latinLnBrk="0" hangingPunct="1">
        <a:defRPr sz="1541" kern="1200">
          <a:solidFill>
            <a:schemeClr val="tx1"/>
          </a:solidFill>
          <a:latin typeface="+mn-lt"/>
          <a:ea typeface="+mn-ea"/>
          <a:cs typeface="+mn-cs"/>
        </a:defRPr>
      </a:lvl2pPr>
      <a:lvl3pPr marL="783020" algn="l" defTabSz="783020" rtl="0" eaLnBrk="1" latinLnBrk="0" hangingPunct="1">
        <a:defRPr sz="1541" kern="1200">
          <a:solidFill>
            <a:schemeClr val="tx1"/>
          </a:solidFill>
          <a:latin typeface="+mn-lt"/>
          <a:ea typeface="+mn-ea"/>
          <a:cs typeface="+mn-cs"/>
        </a:defRPr>
      </a:lvl3pPr>
      <a:lvl4pPr marL="1174531" algn="l" defTabSz="783020" rtl="0" eaLnBrk="1" latinLnBrk="0" hangingPunct="1">
        <a:defRPr sz="1541" kern="1200">
          <a:solidFill>
            <a:schemeClr val="tx1"/>
          </a:solidFill>
          <a:latin typeface="+mn-lt"/>
          <a:ea typeface="+mn-ea"/>
          <a:cs typeface="+mn-cs"/>
        </a:defRPr>
      </a:lvl4pPr>
      <a:lvl5pPr marL="1566040" algn="l" defTabSz="783020" rtl="0" eaLnBrk="1" latinLnBrk="0" hangingPunct="1">
        <a:defRPr sz="1541" kern="1200">
          <a:solidFill>
            <a:schemeClr val="tx1"/>
          </a:solidFill>
          <a:latin typeface="+mn-lt"/>
          <a:ea typeface="+mn-ea"/>
          <a:cs typeface="+mn-cs"/>
        </a:defRPr>
      </a:lvl5pPr>
      <a:lvl6pPr marL="1957551" algn="l" defTabSz="783020" rtl="0" eaLnBrk="1" latinLnBrk="0" hangingPunct="1">
        <a:defRPr sz="1541" kern="1200">
          <a:solidFill>
            <a:schemeClr val="tx1"/>
          </a:solidFill>
          <a:latin typeface="+mn-lt"/>
          <a:ea typeface="+mn-ea"/>
          <a:cs typeface="+mn-cs"/>
        </a:defRPr>
      </a:lvl6pPr>
      <a:lvl7pPr marL="2349060" algn="l" defTabSz="783020" rtl="0" eaLnBrk="1" latinLnBrk="0" hangingPunct="1">
        <a:defRPr sz="1541" kern="1200">
          <a:solidFill>
            <a:schemeClr val="tx1"/>
          </a:solidFill>
          <a:latin typeface="+mn-lt"/>
          <a:ea typeface="+mn-ea"/>
          <a:cs typeface="+mn-cs"/>
        </a:defRPr>
      </a:lvl7pPr>
      <a:lvl8pPr marL="2740571" algn="l" defTabSz="783020" rtl="0" eaLnBrk="1" latinLnBrk="0" hangingPunct="1">
        <a:defRPr sz="1541" kern="1200">
          <a:solidFill>
            <a:schemeClr val="tx1"/>
          </a:solidFill>
          <a:latin typeface="+mn-lt"/>
          <a:ea typeface="+mn-ea"/>
          <a:cs typeface="+mn-cs"/>
        </a:defRPr>
      </a:lvl8pPr>
      <a:lvl9pPr marL="3132082" algn="l" defTabSz="783020" rtl="0" eaLnBrk="1" latinLnBrk="0" hangingPunct="1">
        <a:defRPr sz="154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7709" y="402484"/>
            <a:ext cx="9003983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7709" y="2012414"/>
            <a:ext cx="9003983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7709" y="7006700"/>
            <a:ext cx="2348865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6/3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8051" y="7006700"/>
            <a:ext cx="352329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72826" y="7006700"/>
            <a:ext cx="2348865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Object 7" hidden="1">
            <a:extLst>
              <a:ext uri="{FF2B5EF4-FFF2-40B4-BE49-F238E27FC236}">
                <a16:creationId xmlns:a16="http://schemas.microsoft.com/office/drawing/2014/main" id="{6867566C-D67C-4747-9C74-74D72916B1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360" y="1751"/>
          <a:ext cx="136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867566C-D67C-4747-9C74-74D72916B1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360" y="1751"/>
                        <a:ext cx="136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08149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26" Type="http://schemas.openxmlformats.org/officeDocument/2006/relationships/image" Target="../media/image22.png"/><Relationship Id="rId3" Type="http://schemas.openxmlformats.org/officeDocument/2006/relationships/image" Target="../media/image3.png"/><Relationship Id="rId21" Type="http://schemas.openxmlformats.org/officeDocument/2006/relationships/image" Target="../media/image18.png"/><Relationship Id="rId34" Type="http://schemas.openxmlformats.org/officeDocument/2006/relationships/image" Target="../media/image30.png"/><Relationship Id="rId7" Type="http://schemas.openxmlformats.org/officeDocument/2006/relationships/image" Target="../media/image6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5" Type="http://schemas.openxmlformats.org/officeDocument/2006/relationships/image" Target="../media/image21.png"/><Relationship Id="rId33" Type="http://schemas.openxmlformats.org/officeDocument/2006/relationships/image" Target="../media/image29.png"/><Relationship Id="rId38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29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microsoft.com/office/2007/relationships/hdphoto" Target="../media/hdphoto3.wdp"/><Relationship Id="rId24" Type="http://schemas.microsoft.com/office/2007/relationships/hdphoto" Target="../media/hdphoto4.wdp"/><Relationship Id="rId32" Type="http://schemas.openxmlformats.org/officeDocument/2006/relationships/image" Target="../media/image28.png"/><Relationship Id="rId37" Type="http://schemas.openxmlformats.org/officeDocument/2006/relationships/image" Target="../media/image33.png"/><Relationship Id="rId5" Type="http://schemas.microsoft.com/office/2007/relationships/hdphoto" Target="../media/hdphoto1.wdp"/><Relationship Id="rId15" Type="http://schemas.openxmlformats.org/officeDocument/2006/relationships/image" Target="../media/image12.png"/><Relationship Id="rId23" Type="http://schemas.openxmlformats.org/officeDocument/2006/relationships/image" Target="../media/image20.png"/><Relationship Id="rId28" Type="http://schemas.openxmlformats.org/officeDocument/2006/relationships/image" Target="../media/image24.png"/><Relationship Id="rId36" Type="http://schemas.openxmlformats.org/officeDocument/2006/relationships/image" Target="../media/image32.png"/><Relationship Id="rId10" Type="http://schemas.openxmlformats.org/officeDocument/2006/relationships/image" Target="../media/image8.png"/><Relationship Id="rId19" Type="http://schemas.openxmlformats.org/officeDocument/2006/relationships/image" Target="../media/image16.png"/><Relationship Id="rId31" Type="http://schemas.openxmlformats.org/officeDocument/2006/relationships/image" Target="../media/image27.png"/><Relationship Id="rId4" Type="http://schemas.openxmlformats.org/officeDocument/2006/relationships/image" Target="../media/image4.png"/><Relationship Id="rId9" Type="http://schemas.microsoft.com/office/2007/relationships/hdphoto" Target="../media/hdphoto2.wdp"/><Relationship Id="rId14" Type="http://schemas.openxmlformats.org/officeDocument/2006/relationships/image" Target="../media/image11.png"/><Relationship Id="rId22" Type="http://schemas.openxmlformats.org/officeDocument/2006/relationships/image" Target="../media/image19.png"/><Relationship Id="rId27" Type="http://schemas.openxmlformats.org/officeDocument/2006/relationships/image" Target="../media/image23.png"/><Relationship Id="rId30" Type="http://schemas.openxmlformats.org/officeDocument/2006/relationships/image" Target="../media/image26.png"/><Relationship Id="rId35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DBDB087A-366F-43C7-BCD3-6101A6D382D1}"/>
              </a:ext>
            </a:extLst>
          </p:cNvPr>
          <p:cNvSpPr/>
          <p:nvPr/>
        </p:nvSpPr>
        <p:spPr>
          <a:xfrm>
            <a:off x="0" y="-3814"/>
            <a:ext cx="10439400" cy="435211"/>
          </a:xfrm>
          <a:prstGeom prst="rect">
            <a:avLst/>
          </a:prstGeom>
          <a:gradFill flip="none" rotWithShape="1">
            <a:gsLst>
              <a:gs pos="0">
                <a:srgbClr val="01CCD2"/>
              </a:gs>
              <a:gs pos="32000">
                <a:srgbClr val="0089B3"/>
              </a:gs>
              <a:gs pos="60000">
                <a:srgbClr val="006C9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9A531DF3-8150-4EF5-8BAA-E174AD52D2EA}"/>
              </a:ext>
            </a:extLst>
          </p:cNvPr>
          <p:cNvSpPr/>
          <p:nvPr/>
        </p:nvSpPr>
        <p:spPr>
          <a:xfrm>
            <a:off x="3742846" y="85976"/>
            <a:ext cx="319386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Nirmala UI" panose="020B0502040204020203" pitchFamily="34" charset="0"/>
              </a:rPr>
              <a:t>GREEN HOUSE (YASHIL UY) LOYIHAS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B0EFECA-2B7D-4848-AF95-EB8302063CDF}"/>
              </a:ext>
            </a:extLst>
          </p:cNvPr>
          <p:cNvSpPr txBox="1"/>
          <p:nvPr/>
        </p:nvSpPr>
        <p:spPr>
          <a:xfrm>
            <a:off x="1298749" y="4203008"/>
            <a:ext cx="21054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solidFill>
                  <a:srgbClr val="002060"/>
                </a:solidFill>
                <a:latin typeface="Arial Black" panose="020B0A04020102020204" pitchFamily="34" charset="0"/>
              </a:defRPr>
            </a:lvl1pPr>
          </a:lstStyle>
          <a:p>
            <a:pPr algn="ctr"/>
            <a:r>
              <a:rPr lang="en-US" dirty="0" err="1"/>
              <a:t>Loyihaning</a:t>
            </a:r>
            <a:r>
              <a:rPr lang="en-US" dirty="0"/>
              <a:t> </a:t>
            </a:r>
            <a:r>
              <a:rPr lang="en-US" dirty="0" err="1"/>
              <a:t>avzaliklari</a:t>
            </a:r>
            <a:endParaRPr lang="ru-RU" dirty="0"/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4B0EFECA-2B7D-4848-AF95-EB8302063CDF}"/>
              </a:ext>
            </a:extLst>
          </p:cNvPr>
          <p:cNvSpPr txBox="1"/>
          <p:nvPr/>
        </p:nvSpPr>
        <p:spPr>
          <a:xfrm>
            <a:off x="65641" y="3750463"/>
            <a:ext cx="1244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1-bosqich</a:t>
            </a:r>
            <a:endParaRPr lang="ru-RU" sz="12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44" name="Прямая соединительная линия 143">
            <a:extLst>
              <a:ext uri="{FF2B5EF4-FFF2-40B4-BE49-F238E27FC236}">
                <a16:creationId xmlns:a16="http://schemas.microsoft.com/office/drawing/2014/main" id="{C4226CDB-3108-492E-86F8-F70D8FE5B6A0}"/>
              </a:ext>
            </a:extLst>
          </p:cNvPr>
          <p:cNvCxnSpPr>
            <a:cxnSpLocks/>
          </p:cNvCxnSpPr>
          <p:nvPr/>
        </p:nvCxnSpPr>
        <p:spPr>
          <a:xfrm flipV="1">
            <a:off x="0" y="4095953"/>
            <a:ext cx="10439400" cy="83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4B0EFECA-2B7D-4848-AF95-EB8302063CDF}"/>
              </a:ext>
            </a:extLst>
          </p:cNvPr>
          <p:cNvSpPr txBox="1"/>
          <p:nvPr/>
        </p:nvSpPr>
        <p:spPr>
          <a:xfrm>
            <a:off x="8301629" y="462245"/>
            <a:ext cx="21485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solidFill>
                  <a:srgbClr val="002060"/>
                </a:solidFill>
                <a:latin typeface="Arial Black" panose="020B0A04020102020204" pitchFamily="34" charset="0"/>
              </a:defRPr>
            </a:lvl1pPr>
          </a:lstStyle>
          <a:p>
            <a:pPr algn="ctr"/>
            <a:r>
              <a:rPr lang="en-US" dirty="0" err="1"/>
              <a:t>Loyihaning</a:t>
            </a:r>
            <a:r>
              <a:rPr lang="en-US" dirty="0"/>
              <a:t> </a:t>
            </a:r>
            <a:r>
              <a:rPr lang="en-US" dirty="0" err="1"/>
              <a:t>dolzarbligi</a:t>
            </a:r>
            <a:endParaRPr lang="ru-RU" dirty="0"/>
          </a:p>
        </p:txBody>
      </p:sp>
      <p:sp>
        <p:nvSpPr>
          <p:cNvPr id="71" name="Text Box 11">
            <a:extLst>
              <a:ext uri="{FF2B5EF4-FFF2-40B4-BE49-F238E27FC236}">
                <a16:creationId xmlns:a16="http://schemas.microsoft.com/office/drawing/2014/main" id="{F1411AB5-64C1-7CCD-115F-9E4391F429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4666" y="1070236"/>
            <a:ext cx="1007275" cy="533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1029" tIns="35514" rIns="71029" bIns="35514" numCol="1" anchor="t" anchorCtr="0" compatLnSpc="1">
            <a:prstTxWarp prst="textNoShape">
              <a:avLst/>
            </a:prstTxWarp>
            <a:spAutoFit/>
          </a:bodyPr>
          <a:lstStyle/>
          <a:p>
            <a:pPr defTabSz="71033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atta miqdorda cocopeatlarni import bo‘lishi</a:t>
            </a:r>
            <a:endParaRPr lang="en-US" alt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59797" y="2456310"/>
            <a:ext cx="11742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uv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anqisligini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obora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rtib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orishi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</a:p>
        </p:txBody>
      </p:sp>
      <p:sp>
        <p:nvSpPr>
          <p:cNvPr id="82" name="Text Box 11">
            <a:extLst>
              <a:ext uri="{FF2B5EF4-FFF2-40B4-BE49-F238E27FC236}">
                <a16:creationId xmlns:a16="http://schemas.microsoft.com/office/drawing/2014/main" id="{24D5A2D7-2DE6-4365-A718-F1912F4F09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80967" y="3063271"/>
            <a:ext cx="1102771" cy="533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1029" tIns="35514" rIns="71029" bIns="35514" numCol="1" anchor="t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uproq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numdorligini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pastligi</a:t>
            </a:r>
            <a:endParaRPr lang="en-US" alt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4B0EFECA-2B7D-4848-AF95-EB8302063CDF}"/>
              </a:ext>
            </a:extLst>
          </p:cNvPr>
          <p:cNvSpPr txBox="1"/>
          <p:nvPr/>
        </p:nvSpPr>
        <p:spPr>
          <a:xfrm>
            <a:off x="4291311" y="496743"/>
            <a:ext cx="2599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Loyihaning</a:t>
            </a:r>
            <a:r>
              <a:rPr lang="en-US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a’lumotlari</a:t>
            </a:r>
            <a:r>
              <a:rPr lang="en-US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endParaRPr lang="ru-RU" sz="12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58" name="Прямая соединительная линия 157">
            <a:extLst>
              <a:ext uri="{FF2B5EF4-FFF2-40B4-BE49-F238E27FC236}">
                <a16:creationId xmlns:a16="http://schemas.microsoft.com/office/drawing/2014/main" id="{36656D91-B017-46FA-98F8-CCAF9EFEEEED}"/>
              </a:ext>
            </a:extLst>
          </p:cNvPr>
          <p:cNvCxnSpPr>
            <a:cxnSpLocks/>
          </p:cNvCxnSpPr>
          <p:nvPr/>
        </p:nvCxnSpPr>
        <p:spPr>
          <a:xfrm>
            <a:off x="2909049" y="1125784"/>
            <a:ext cx="740" cy="2548083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Прямая соединительная линия 168">
            <a:extLst>
              <a:ext uri="{FF2B5EF4-FFF2-40B4-BE49-F238E27FC236}">
                <a16:creationId xmlns:a16="http://schemas.microsoft.com/office/drawing/2014/main" id="{36656D91-B017-46FA-98F8-CCAF9EFEEEED}"/>
              </a:ext>
            </a:extLst>
          </p:cNvPr>
          <p:cNvCxnSpPr>
            <a:cxnSpLocks/>
          </p:cNvCxnSpPr>
          <p:nvPr/>
        </p:nvCxnSpPr>
        <p:spPr>
          <a:xfrm flipH="1">
            <a:off x="4392342" y="4322092"/>
            <a:ext cx="4473" cy="3157208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Рисунок 8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96" t="21233" r="7664" b="15902"/>
          <a:stretch/>
        </p:blipFill>
        <p:spPr>
          <a:xfrm>
            <a:off x="5993397" y="973576"/>
            <a:ext cx="422470" cy="1324557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7256" l="9901" r="89604"/>
                    </a14:imgEffect>
                  </a14:imgLayer>
                </a14:imgProps>
              </a:ext>
            </a:extLst>
          </a:blip>
          <a:srcRect l="7921" r="10891"/>
          <a:stretch/>
        </p:blipFill>
        <p:spPr>
          <a:xfrm>
            <a:off x="1460944" y="1030317"/>
            <a:ext cx="1240050" cy="277227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8969" y="1010674"/>
            <a:ext cx="1140005" cy="2695703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29912" y="1857488"/>
            <a:ext cx="595413" cy="342417"/>
          </a:xfrm>
          <a:prstGeom prst="rect">
            <a:avLst/>
          </a:prstGeom>
        </p:spPr>
      </p:pic>
      <p:pic>
        <p:nvPicPr>
          <p:cNvPr id="97" name="Picture 4" descr="Coco Peat Grow Bags - Online Hydroponics Shop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830" b="89981" l="7008" r="8996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40" t="18053" r="6708" b="17796"/>
          <a:stretch/>
        </p:blipFill>
        <p:spPr bwMode="auto">
          <a:xfrm>
            <a:off x="8506051" y="1058848"/>
            <a:ext cx="706315" cy="512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4" name="Прямая соединительная линия 103">
            <a:extLst>
              <a:ext uri="{FF2B5EF4-FFF2-40B4-BE49-F238E27FC236}">
                <a16:creationId xmlns:a16="http://schemas.microsoft.com/office/drawing/2014/main" id="{36656D91-B017-46FA-98F8-CCAF9EFEEEED}"/>
              </a:ext>
            </a:extLst>
          </p:cNvPr>
          <p:cNvCxnSpPr>
            <a:cxnSpLocks/>
          </p:cNvCxnSpPr>
          <p:nvPr/>
        </p:nvCxnSpPr>
        <p:spPr>
          <a:xfrm>
            <a:off x="8363859" y="1125784"/>
            <a:ext cx="740" cy="2548083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Прямоугольник 104"/>
          <p:cNvSpPr/>
          <p:nvPr/>
        </p:nvSpPr>
        <p:spPr>
          <a:xfrm>
            <a:off x="9133507" y="1785203"/>
            <a:ext cx="112174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Axoli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onini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shib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orishi</a:t>
            </a:r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</a:p>
          <a:p>
            <a:r>
              <a:rPr lang="en-US" alt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(food security)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11278" name="Picture 14" descr="What are the solutions to reduce water scarcity? | Waterlogic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873" b="100000" l="10000" r="99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5902" t="13228"/>
          <a:stretch/>
        </p:blipFill>
        <p:spPr bwMode="auto">
          <a:xfrm>
            <a:off x="8507949" y="2374393"/>
            <a:ext cx="667250" cy="472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12"/>
          <a:srcRect l="36924" t="6847" r="5930"/>
          <a:stretch/>
        </p:blipFill>
        <p:spPr>
          <a:xfrm>
            <a:off x="8542962" y="3019457"/>
            <a:ext cx="607740" cy="566541"/>
          </a:xfrm>
          <a:prstGeom prst="rect">
            <a:avLst/>
          </a:prstGeom>
        </p:spPr>
      </p:pic>
      <p:grpSp>
        <p:nvGrpSpPr>
          <p:cNvPr id="39" name="Группа 38"/>
          <p:cNvGrpSpPr/>
          <p:nvPr/>
        </p:nvGrpSpPr>
        <p:grpSpPr>
          <a:xfrm>
            <a:off x="2282632" y="5200783"/>
            <a:ext cx="742125" cy="687994"/>
            <a:chOff x="-2389239" y="7848351"/>
            <a:chExt cx="2780817" cy="2600325"/>
          </a:xfrm>
        </p:grpSpPr>
        <p:pic>
          <p:nvPicPr>
            <p:cNvPr id="37" name="Рисунок 36"/>
            <p:cNvPicPr>
              <a:picLocks noChangeAspect="1"/>
            </p:cNvPicPr>
            <p:nvPr/>
          </p:nvPicPr>
          <p:blipFill rotWithShape="1">
            <a:blip r:embed="rId13"/>
            <a:srcRect l="47683" r="34660"/>
            <a:stretch/>
          </p:blipFill>
          <p:spPr>
            <a:xfrm>
              <a:off x="-2389239" y="7848351"/>
              <a:ext cx="1533833" cy="2600325"/>
            </a:xfrm>
            <a:prstGeom prst="rect">
              <a:avLst/>
            </a:prstGeom>
          </p:spPr>
        </p:pic>
        <p:pic>
          <p:nvPicPr>
            <p:cNvPr id="115" name="Рисунок 114"/>
            <p:cNvPicPr>
              <a:picLocks noChangeAspect="1"/>
            </p:cNvPicPr>
            <p:nvPr/>
          </p:nvPicPr>
          <p:blipFill rotWithShape="1">
            <a:blip r:embed="rId13"/>
            <a:srcRect l="82658"/>
            <a:stretch/>
          </p:blipFill>
          <p:spPr>
            <a:xfrm>
              <a:off x="-1114914" y="7848351"/>
              <a:ext cx="1506492" cy="2600325"/>
            </a:xfrm>
            <a:prstGeom prst="rect">
              <a:avLst/>
            </a:prstGeom>
          </p:spPr>
        </p:pic>
      </p:grpSp>
      <p:sp>
        <p:nvSpPr>
          <p:cNvPr id="117" name="Прямоугольник 116"/>
          <p:cNvSpPr/>
          <p:nvPr/>
        </p:nvSpPr>
        <p:spPr>
          <a:xfrm>
            <a:off x="933676" y="4686802"/>
            <a:ext cx="129996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ug‘orish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ssullarg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isbatan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o‘proq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uv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ejash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932843" y="5349798"/>
            <a:ext cx="13473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er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aydonlaridan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numl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foydalanish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949595" y="6692688"/>
            <a:ext cx="12190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er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o‘lalardan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numl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foydalanish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120" name="Рисунок 11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71742" y="4652614"/>
            <a:ext cx="498937" cy="498937"/>
          </a:xfrm>
          <a:prstGeom prst="rect">
            <a:avLst/>
          </a:prstGeom>
        </p:spPr>
      </p:pic>
      <p:pic>
        <p:nvPicPr>
          <p:cNvPr id="126" name="Рисунок 125"/>
          <p:cNvPicPr>
            <a:picLocks noChangeAspect="1"/>
          </p:cNvPicPr>
          <p:nvPr/>
        </p:nvPicPr>
        <p:blipFill rotWithShape="1">
          <a:blip r:embed="rId15"/>
          <a:srcRect t="10448"/>
          <a:stretch/>
        </p:blipFill>
        <p:spPr>
          <a:xfrm>
            <a:off x="178970" y="5305554"/>
            <a:ext cx="779566" cy="519671"/>
          </a:xfrm>
          <a:prstGeom prst="rect">
            <a:avLst/>
          </a:prstGeom>
        </p:spPr>
      </p:pic>
      <p:pic>
        <p:nvPicPr>
          <p:cNvPr id="127" name="Рисунок 126"/>
          <p:cNvPicPr>
            <a:picLocks noChangeAspect="1"/>
          </p:cNvPicPr>
          <p:nvPr/>
        </p:nvPicPr>
        <p:blipFill rotWithShape="1">
          <a:blip r:embed="rId16"/>
          <a:srcRect l="7765" r="16333"/>
          <a:stretch/>
        </p:blipFill>
        <p:spPr>
          <a:xfrm>
            <a:off x="307229" y="5886672"/>
            <a:ext cx="602967" cy="529605"/>
          </a:xfrm>
          <a:prstGeom prst="rect">
            <a:avLst/>
          </a:prstGeom>
        </p:spPr>
      </p:pic>
      <p:sp>
        <p:nvSpPr>
          <p:cNvPr id="129" name="Прямоугольник 128"/>
          <p:cNvSpPr/>
          <p:nvPr/>
        </p:nvSpPr>
        <p:spPr>
          <a:xfrm>
            <a:off x="932842" y="5929277"/>
            <a:ext cx="160554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o‘p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avatl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ylar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etishtirish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mkoni</a:t>
            </a:r>
            <a:endParaRPr lang="en-US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o‘ladi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132" name="Рисунок 131"/>
          <p:cNvPicPr>
            <a:picLocks noChangeAspect="1"/>
          </p:cNvPicPr>
          <p:nvPr/>
        </p:nvPicPr>
        <p:blipFill rotWithShape="1">
          <a:blip r:embed="rId17"/>
          <a:srcRect l="7444" t="6759" r="6735" b="7421"/>
          <a:stretch/>
        </p:blipFill>
        <p:spPr>
          <a:xfrm>
            <a:off x="391278" y="6633246"/>
            <a:ext cx="517234" cy="517234"/>
          </a:xfrm>
          <a:prstGeom prst="rect">
            <a:avLst/>
          </a:prstGeom>
        </p:spPr>
      </p:pic>
      <p:sp>
        <p:nvSpPr>
          <p:cNvPr id="136" name="Прямоугольник 135"/>
          <p:cNvSpPr/>
          <p:nvPr/>
        </p:nvSpPr>
        <p:spPr>
          <a:xfrm>
            <a:off x="2963463" y="4687978"/>
            <a:ext cx="122633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il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avomi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xosil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lish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mkon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o‘ladi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138" name="Рисунок 137"/>
          <p:cNvPicPr>
            <a:picLocks noChangeAspect="1"/>
          </p:cNvPicPr>
          <p:nvPr/>
        </p:nvPicPr>
        <p:blipFill rotWithShape="1">
          <a:blip r:embed="rId18"/>
          <a:srcRect l="5540" t="10021" r="5041" b="10166"/>
          <a:stretch/>
        </p:blipFill>
        <p:spPr>
          <a:xfrm>
            <a:off x="2256302" y="4654804"/>
            <a:ext cx="718894" cy="466458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2963463" y="5277010"/>
            <a:ext cx="139122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oshq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sulg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isbatan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osildorlikning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axshiligi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76"/>
          <a:stretch/>
        </p:blipFill>
        <p:spPr>
          <a:xfrm>
            <a:off x="2344493" y="6035300"/>
            <a:ext cx="663897" cy="419078"/>
          </a:xfrm>
          <a:prstGeom prst="rect">
            <a:avLst/>
          </a:prstGeom>
        </p:spPr>
      </p:pic>
      <p:sp>
        <p:nvSpPr>
          <p:cNvPr id="44" name="Прямоугольник 43"/>
          <p:cNvSpPr/>
          <p:nvPr/>
        </p:nvSpPr>
        <p:spPr>
          <a:xfrm>
            <a:off x="3008390" y="5974997"/>
            <a:ext cx="124826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r</a:t>
            </a:r>
            <a:r>
              <a:rPr 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aqtning</a:t>
            </a:r>
            <a:r>
              <a:rPr 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zida</a:t>
            </a:r>
            <a:r>
              <a:rPr 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ilma</a:t>
            </a:r>
            <a:r>
              <a:rPr 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il</a:t>
            </a:r>
            <a:r>
              <a:rPr 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osil</a:t>
            </a:r>
            <a:r>
              <a:rPr 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lish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mkon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avjud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 rotWithShape="1">
          <a:blip r:embed="rId20"/>
          <a:srcRect l="9360" t="12940" r="9815" b="14129"/>
          <a:stretch/>
        </p:blipFill>
        <p:spPr>
          <a:xfrm>
            <a:off x="2340606" y="6631791"/>
            <a:ext cx="684151" cy="494531"/>
          </a:xfrm>
          <a:prstGeom prst="rect">
            <a:avLst/>
          </a:prstGeom>
        </p:spPr>
      </p:pic>
      <p:sp>
        <p:nvSpPr>
          <p:cNvPr id="139" name="Прямоугольник 138"/>
          <p:cNvSpPr/>
          <p:nvPr/>
        </p:nvSpPr>
        <p:spPr>
          <a:xfrm>
            <a:off x="3046443" y="6695379"/>
            <a:ext cx="12482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yimiy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ug‘orish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izim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avjudligi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4B0EFECA-2B7D-4848-AF95-EB8302063CDF}"/>
              </a:ext>
            </a:extLst>
          </p:cNvPr>
          <p:cNvSpPr txBox="1"/>
          <p:nvPr/>
        </p:nvSpPr>
        <p:spPr>
          <a:xfrm>
            <a:off x="4294198" y="4203238"/>
            <a:ext cx="2642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ijozlaringizga</a:t>
            </a:r>
            <a:r>
              <a:rPr lang="ru-RU" altLang="ru-RU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qanday</a:t>
            </a:r>
            <a:r>
              <a:rPr lang="ru-RU" altLang="ru-RU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erisha</a:t>
            </a:r>
            <a:r>
              <a:rPr lang="en-US" altLang="ru-RU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m</a:t>
            </a:r>
            <a:r>
              <a:rPr lang="ru-RU" altLang="ru-RU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iz</a:t>
            </a:r>
            <a:r>
              <a:rPr lang="ru-RU" altLang="ru-RU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647780" y="4681249"/>
            <a:ext cx="11863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adbirkorlar</a:t>
            </a:r>
            <a:endParaRPr lang="en-US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(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lib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otarlar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)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631594" y="5496258"/>
            <a:ext cx="7919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Fermerlar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B0EFECA-2B7D-4848-AF95-EB8302063CDF}"/>
              </a:ext>
            </a:extLst>
          </p:cNvPr>
          <p:cNvSpPr txBox="1"/>
          <p:nvPr/>
        </p:nvSpPr>
        <p:spPr>
          <a:xfrm>
            <a:off x="7616804" y="4209542"/>
            <a:ext cx="19911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Bizning</a:t>
            </a:r>
            <a:r>
              <a:rPr lang="en-US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ijozlarimiz</a:t>
            </a:r>
            <a:r>
              <a:rPr lang="en-US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endParaRPr lang="ru-RU" sz="12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21"/>
          <a:srcRect l="8508" t="7565" r="7819" b="10595"/>
          <a:stretch/>
        </p:blipFill>
        <p:spPr>
          <a:xfrm>
            <a:off x="7068298" y="4589249"/>
            <a:ext cx="536799" cy="525044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22"/>
          <a:srcRect l="15764" t="2462" r="15360" b="5196"/>
          <a:stretch/>
        </p:blipFill>
        <p:spPr>
          <a:xfrm>
            <a:off x="7141323" y="5258539"/>
            <a:ext cx="449468" cy="602605"/>
          </a:xfrm>
          <a:prstGeom prst="rect">
            <a:avLst/>
          </a:prstGeom>
        </p:spPr>
      </p:pic>
      <p:pic>
        <p:nvPicPr>
          <p:cNvPr id="11296" name="Picture 32" descr="Вектор Комплект плоских мультяшных домохозяек. женщины делают домашние дела. типы личностей знаков зодиака. готовые к использованию шаблоны наборов 2d комиксов для рекламы, анимации, печати"/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51438" b="91534" l="67732" r="9377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9339" t="51463" r="10086" b="7843"/>
          <a:stretch/>
        </p:blipFill>
        <p:spPr bwMode="auto">
          <a:xfrm>
            <a:off x="7116226" y="5974778"/>
            <a:ext cx="419345" cy="829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2" name="Прямоугольник 151"/>
          <p:cNvSpPr/>
          <p:nvPr/>
        </p:nvSpPr>
        <p:spPr>
          <a:xfrm>
            <a:off x="7625097" y="6240355"/>
            <a:ext cx="7919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y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ekalar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25"/>
          <a:srcRect l="6266" t="15839" r="6325" b="12017"/>
          <a:stretch/>
        </p:blipFill>
        <p:spPr>
          <a:xfrm>
            <a:off x="7045068" y="6829621"/>
            <a:ext cx="645135" cy="532468"/>
          </a:xfrm>
          <a:prstGeom prst="rect">
            <a:avLst/>
          </a:prstGeom>
        </p:spPr>
      </p:pic>
      <p:sp>
        <p:nvSpPr>
          <p:cNvPr id="178" name="Прямоугольник 177"/>
          <p:cNvSpPr/>
          <p:nvPr/>
        </p:nvSpPr>
        <p:spPr>
          <a:xfrm>
            <a:off x="7738452" y="6884806"/>
            <a:ext cx="7919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ssiqxon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akillari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26"/>
          <a:srcRect r="53940" b="49624"/>
          <a:stretch/>
        </p:blipFill>
        <p:spPr>
          <a:xfrm>
            <a:off x="8605156" y="5148966"/>
            <a:ext cx="635075" cy="694583"/>
          </a:xfrm>
          <a:prstGeom prst="rect">
            <a:avLst/>
          </a:prstGeom>
        </p:spPr>
      </p:pic>
      <p:sp>
        <p:nvSpPr>
          <p:cNvPr id="180" name="Прямоугольник 179"/>
          <p:cNvSpPr/>
          <p:nvPr/>
        </p:nvSpPr>
        <p:spPr>
          <a:xfrm>
            <a:off x="9340956" y="5386530"/>
            <a:ext cx="9966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Restaran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iznes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akillariga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27"/>
          <a:srcRect b="41098"/>
          <a:stretch/>
        </p:blipFill>
        <p:spPr>
          <a:xfrm>
            <a:off x="8682023" y="4610964"/>
            <a:ext cx="572570" cy="475974"/>
          </a:xfrm>
          <a:prstGeom prst="rect">
            <a:avLst/>
          </a:prstGeom>
        </p:spPr>
      </p:pic>
      <p:sp>
        <p:nvSpPr>
          <p:cNvPr id="181" name="Прямоугольник 180"/>
          <p:cNvSpPr/>
          <p:nvPr/>
        </p:nvSpPr>
        <p:spPr>
          <a:xfrm>
            <a:off x="9349318" y="4698802"/>
            <a:ext cx="1024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io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labaratoriy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akillari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28"/>
          <a:srcRect l="6811" t="6034" r="7961" b="6645"/>
          <a:stretch/>
        </p:blipFill>
        <p:spPr>
          <a:xfrm>
            <a:off x="8636966" y="6109152"/>
            <a:ext cx="692682" cy="473121"/>
          </a:xfrm>
          <a:prstGeom prst="rect">
            <a:avLst/>
          </a:prstGeom>
        </p:spPr>
      </p:pic>
      <p:sp>
        <p:nvSpPr>
          <p:cNvPr id="182" name="Прямоугольник 181"/>
          <p:cNvSpPr/>
          <p:nvPr/>
        </p:nvSpPr>
        <p:spPr>
          <a:xfrm>
            <a:off x="9343125" y="6067250"/>
            <a:ext cx="99661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o‘shn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avlatlarg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export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ilish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 rotWithShape="1">
          <a:blip r:embed="rId29"/>
          <a:srcRect l="12237" t="10534" r="12641" b="11291"/>
          <a:stretch/>
        </p:blipFill>
        <p:spPr>
          <a:xfrm>
            <a:off x="4629543" y="5440052"/>
            <a:ext cx="510664" cy="531423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 rotWithShape="1">
          <a:blip r:embed="rId30"/>
          <a:srcRect l="25407" t="23958" r="23595" b="25656"/>
          <a:stretch/>
        </p:blipFill>
        <p:spPr>
          <a:xfrm>
            <a:off x="4621308" y="4697648"/>
            <a:ext cx="565068" cy="558301"/>
          </a:xfrm>
          <a:prstGeom prst="rect">
            <a:avLst/>
          </a:prstGeom>
        </p:spPr>
      </p:pic>
      <p:sp>
        <p:nvSpPr>
          <p:cNvPr id="183" name="Прямоугольник 182"/>
          <p:cNvSpPr/>
          <p:nvPr/>
        </p:nvSpPr>
        <p:spPr>
          <a:xfrm>
            <a:off x="5153644" y="4743514"/>
            <a:ext cx="18289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elegram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anal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faoliyat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oritib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aqi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orish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84" name="Прямоугольник 183"/>
          <p:cNvSpPr/>
          <p:nvPr/>
        </p:nvSpPr>
        <p:spPr>
          <a:xfrm>
            <a:off x="5173149" y="5450925"/>
            <a:ext cx="18033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nstagram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ahifa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reklamalar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joylash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86" name="Прямоугольник 185"/>
          <p:cNvSpPr/>
          <p:nvPr/>
        </p:nvSpPr>
        <p:spPr>
          <a:xfrm>
            <a:off x="5230806" y="6206153"/>
            <a:ext cx="174568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logerlar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ordami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jtimoiy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armoqlar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reklam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ilish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79" name="Рисунок 78"/>
          <p:cNvPicPr>
            <a:picLocks noChangeAspect="1"/>
          </p:cNvPicPr>
          <p:nvPr/>
        </p:nvPicPr>
        <p:blipFill rotWithShape="1">
          <a:blip r:embed="rId31"/>
          <a:srcRect l="2673" t="1518" b="5210"/>
          <a:stretch/>
        </p:blipFill>
        <p:spPr>
          <a:xfrm>
            <a:off x="4594664" y="6171385"/>
            <a:ext cx="658215" cy="480810"/>
          </a:xfrm>
          <a:prstGeom prst="flowChartConnector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 rotWithShape="1">
          <a:blip r:embed="rId32"/>
          <a:srcRect b="11773"/>
          <a:stretch/>
        </p:blipFill>
        <p:spPr>
          <a:xfrm>
            <a:off x="4609236" y="6776462"/>
            <a:ext cx="622745" cy="549425"/>
          </a:xfrm>
          <a:prstGeom prst="flowChartConnector">
            <a:avLst/>
          </a:prstGeom>
        </p:spPr>
      </p:pic>
      <p:sp>
        <p:nvSpPr>
          <p:cNvPr id="187" name="Прямоугольник 186"/>
          <p:cNvSpPr/>
          <p:nvPr/>
        </p:nvSpPr>
        <p:spPr>
          <a:xfrm>
            <a:off x="5238403" y="6810019"/>
            <a:ext cx="174568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ishloq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xo‘jalig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ohas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akillarig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amun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ifati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inov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chun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erish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88" name="TextBox 187"/>
          <p:cNvSpPr txBox="1"/>
          <p:nvPr/>
        </p:nvSpPr>
        <p:spPr>
          <a:xfrm>
            <a:off x="6455939" y="1038084"/>
            <a:ext cx="1927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att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inora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80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na</a:t>
            </a:r>
            <a:endParaRPr lang="en-US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‘simlik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‘stirish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mkon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avjud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6455939" y="1467736"/>
            <a:ext cx="17865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alandlig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70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m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</a:p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iametr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67</a:t>
            </a:r>
            <a:r>
              <a:rPr lang="en-US" sz="1000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m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6446168" y="1850468"/>
            <a:ext cx="21167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0 </a:t>
            </a:r>
            <a:r>
              <a:rPr lang="en-US" sz="10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ator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xar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ator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ekin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chun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</a:p>
          <a:p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8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n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echeyk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avjud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2985255" y="1023972"/>
            <a:ext cx="2840091" cy="1055117"/>
          </a:xfrm>
          <a:prstGeom prst="roundRect">
            <a:avLst>
              <a:gd name="adj" fmla="val 18459"/>
            </a:avLst>
          </a:prstGeom>
        </p:spPr>
      </p:pic>
      <p:sp>
        <p:nvSpPr>
          <p:cNvPr id="191" name="TextBox 190"/>
          <p:cNvSpPr txBox="1"/>
          <p:nvPr/>
        </p:nvSpPr>
        <p:spPr>
          <a:xfrm>
            <a:off x="2986322" y="2041550"/>
            <a:ext cx="2929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agon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armoq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ug‘orish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iz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ir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eyord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a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aqtdan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numl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foydalanish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mkon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avjud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93" name="Прямоугольник 192"/>
          <p:cNvSpPr/>
          <p:nvPr/>
        </p:nvSpPr>
        <p:spPr>
          <a:xfrm>
            <a:off x="5545124" y="2960846"/>
            <a:ext cx="139440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 </a:t>
            </a:r>
            <a:r>
              <a:rPr lang="en-US" sz="10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na</a:t>
            </a:r>
            <a:r>
              <a:rPr lang="en-US" sz="1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 </a:t>
            </a:r>
          </a:p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Gidraponik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inoraning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tan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arx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 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752 </a:t>
            </a:r>
            <a:r>
              <a:rPr lang="en-US" sz="10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ing</a:t>
            </a:r>
            <a:endParaRPr lang="ru-RU" sz="1000" b="1" dirty="0">
              <a:solidFill>
                <a:srgbClr val="FF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94" name="Прямоугольник 193"/>
          <p:cNvSpPr/>
          <p:nvPr/>
        </p:nvSpPr>
        <p:spPr>
          <a:xfrm>
            <a:off x="5534101" y="3504757"/>
            <a:ext cx="146447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 </a:t>
            </a:r>
            <a:r>
              <a:rPr lang="en-US" sz="10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na</a:t>
            </a:r>
            <a:r>
              <a:rPr lang="en-US" sz="1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 </a:t>
            </a:r>
          </a:p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Gidraponik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inoraning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otuv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arx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,09 </a:t>
            </a:r>
            <a:r>
              <a:rPr lang="en-US" sz="10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ln</a:t>
            </a:r>
            <a:endParaRPr lang="ru-RU" sz="1000" b="1" dirty="0">
              <a:solidFill>
                <a:srgbClr val="FF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95" name="Прямоугольник 194"/>
          <p:cNvSpPr/>
          <p:nvPr/>
        </p:nvSpPr>
        <p:spPr>
          <a:xfrm>
            <a:off x="6249733" y="2760729"/>
            <a:ext cx="155052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qtisodiy</a:t>
            </a:r>
            <a:r>
              <a:rPr lang="en-US" sz="1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o‘rsatgichlari</a:t>
            </a:r>
            <a:endParaRPr lang="ru-RU" sz="1000" dirty="0">
              <a:solidFill>
                <a:srgbClr val="FF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96" name="Прямоугольник 195"/>
          <p:cNvSpPr/>
          <p:nvPr/>
        </p:nvSpPr>
        <p:spPr>
          <a:xfrm>
            <a:off x="6805548" y="3051727"/>
            <a:ext cx="164273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Loyihaning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iymati</a:t>
            </a:r>
            <a:endParaRPr lang="en-US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algn="ctr"/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962 </a:t>
            </a:r>
            <a:r>
              <a:rPr lang="en-US" sz="10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ln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7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(</a:t>
            </a:r>
            <a:r>
              <a:rPr lang="en-US" sz="700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astgohlar</a:t>
            </a:r>
            <a:r>
              <a:rPr lang="en-US" sz="7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700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jaraga</a:t>
            </a:r>
            <a:r>
              <a:rPr lang="en-US" sz="7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700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linganda</a:t>
            </a:r>
            <a:r>
              <a:rPr lang="en-US" sz="7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)</a:t>
            </a:r>
            <a:endParaRPr lang="ru-RU" sz="1000" i="1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97" name="Прямоугольник 196"/>
          <p:cNvSpPr/>
          <p:nvPr/>
        </p:nvSpPr>
        <p:spPr>
          <a:xfrm>
            <a:off x="6738685" y="3544574"/>
            <a:ext cx="172597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Loyihaning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iymat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</a:p>
          <a:p>
            <a:pPr algn="ctr"/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2</a:t>
            </a:r>
            <a:r>
              <a:rPr lang="ru-RU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,35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lrd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7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(</a:t>
            </a:r>
            <a:r>
              <a:rPr lang="en-US" sz="700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astgohlar</a:t>
            </a:r>
            <a:r>
              <a:rPr lang="en-US" sz="7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700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otib</a:t>
            </a:r>
            <a:r>
              <a:rPr lang="en-US" sz="7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700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linganda</a:t>
            </a:r>
            <a:r>
              <a:rPr lang="en-US" sz="7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)</a:t>
            </a:r>
            <a:endParaRPr lang="ru-RU" sz="1000" i="1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cxnSp>
        <p:nvCxnSpPr>
          <p:cNvPr id="198" name="Прямая соединительная линия 197">
            <a:extLst>
              <a:ext uri="{FF2B5EF4-FFF2-40B4-BE49-F238E27FC236}">
                <a16:creationId xmlns:a16="http://schemas.microsoft.com/office/drawing/2014/main" id="{C4226CDB-3108-492E-86F8-F70D8FE5B6A0}"/>
              </a:ext>
            </a:extLst>
          </p:cNvPr>
          <p:cNvCxnSpPr>
            <a:cxnSpLocks/>
          </p:cNvCxnSpPr>
          <p:nvPr/>
        </p:nvCxnSpPr>
        <p:spPr>
          <a:xfrm>
            <a:off x="5757392" y="3527523"/>
            <a:ext cx="949595" cy="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Прямая соединительная линия 198">
            <a:extLst>
              <a:ext uri="{FF2B5EF4-FFF2-40B4-BE49-F238E27FC236}">
                <a16:creationId xmlns:a16="http://schemas.microsoft.com/office/drawing/2014/main" id="{C4226CDB-3108-492E-86F8-F70D8FE5B6A0}"/>
              </a:ext>
            </a:extLst>
          </p:cNvPr>
          <p:cNvCxnSpPr>
            <a:cxnSpLocks/>
          </p:cNvCxnSpPr>
          <p:nvPr/>
        </p:nvCxnSpPr>
        <p:spPr>
          <a:xfrm>
            <a:off x="7090892" y="3527523"/>
            <a:ext cx="949595" cy="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Рисунок 94"/>
          <p:cNvPicPr>
            <a:picLocks noChangeAspect="1"/>
          </p:cNvPicPr>
          <p:nvPr/>
        </p:nvPicPr>
        <p:blipFill rotWithShape="1">
          <a:blip r:embed="rId34"/>
          <a:srcRect l="2651" t="10233" r="2655" b="7248"/>
          <a:stretch/>
        </p:blipFill>
        <p:spPr>
          <a:xfrm>
            <a:off x="5975628" y="2296563"/>
            <a:ext cx="478554" cy="417025"/>
          </a:xfrm>
          <a:prstGeom prst="rect">
            <a:avLst/>
          </a:prstGeom>
        </p:spPr>
      </p:pic>
      <p:sp>
        <p:nvSpPr>
          <p:cNvPr id="101" name="Прямоугольник 100"/>
          <p:cNvSpPr/>
          <p:nvPr/>
        </p:nvSpPr>
        <p:spPr>
          <a:xfrm>
            <a:off x="6484832" y="2256026"/>
            <a:ext cx="14189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hlab</a:t>
            </a:r>
            <a:r>
              <a:rPr 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chiqarish</a:t>
            </a:r>
            <a:r>
              <a:rPr lang="ru-RU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uvvati</a:t>
            </a:r>
            <a:endParaRPr lang="en-US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921 </a:t>
            </a:r>
            <a:r>
              <a:rPr lang="en-US" sz="10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na</a:t>
            </a:r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(1 </a:t>
            </a:r>
            <a:r>
              <a:rPr lang="en-US" sz="1000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yga</a:t>
            </a:r>
            <a:r>
              <a:rPr lang="en-US" sz="1000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)</a:t>
            </a:r>
            <a:endParaRPr lang="ru-RU" sz="1000" i="1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4B0EFECA-2B7D-4848-AF95-EB8302063CDF}"/>
              </a:ext>
            </a:extLst>
          </p:cNvPr>
          <p:cNvSpPr txBox="1"/>
          <p:nvPr/>
        </p:nvSpPr>
        <p:spPr>
          <a:xfrm>
            <a:off x="131583" y="471135"/>
            <a:ext cx="283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Gidroponik</a:t>
            </a:r>
            <a:r>
              <a:rPr lang="en-US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inoraning</a:t>
            </a:r>
            <a:r>
              <a:rPr lang="en-US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umumiy</a:t>
            </a:r>
            <a:r>
              <a:rPr lang="en-US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12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ko‘rinishi</a:t>
            </a:r>
            <a:endParaRPr lang="ru-RU" sz="12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4B0EFECA-2B7D-4848-AF95-EB8302063CDF}"/>
              </a:ext>
            </a:extLst>
          </p:cNvPr>
          <p:cNvSpPr txBox="1"/>
          <p:nvPr/>
        </p:nvSpPr>
        <p:spPr>
          <a:xfrm>
            <a:off x="1429621" y="3750463"/>
            <a:ext cx="1244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Arial Black" panose="020B0A04020102020204" pitchFamily="34" charset="0"/>
              </a:rPr>
              <a:t>2-bosqich</a:t>
            </a:r>
            <a:endParaRPr lang="ru-RU" sz="12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218" name="Прямая соединительная линия 217">
            <a:extLst>
              <a:ext uri="{FF2B5EF4-FFF2-40B4-BE49-F238E27FC236}">
                <a16:creationId xmlns:a16="http://schemas.microsoft.com/office/drawing/2014/main" id="{36656D91-B017-46FA-98F8-CCAF9EFEEEED}"/>
              </a:ext>
            </a:extLst>
          </p:cNvPr>
          <p:cNvCxnSpPr>
            <a:cxnSpLocks/>
          </p:cNvCxnSpPr>
          <p:nvPr/>
        </p:nvCxnSpPr>
        <p:spPr>
          <a:xfrm flipH="1">
            <a:off x="6965461" y="4322092"/>
            <a:ext cx="4473" cy="3157208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" name="Рисунок 106"/>
          <p:cNvPicPr>
            <a:picLocks noChangeAspect="1"/>
          </p:cNvPicPr>
          <p:nvPr/>
        </p:nvPicPr>
        <p:blipFill rotWithShape="1">
          <a:blip r:embed="rId35"/>
          <a:srcRect l="28786" t="7779" r="34281" b="51014"/>
          <a:stretch/>
        </p:blipFill>
        <p:spPr>
          <a:xfrm>
            <a:off x="3023807" y="2860668"/>
            <a:ext cx="470540" cy="333774"/>
          </a:xfrm>
          <a:prstGeom prst="rect">
            <a:avLst/>
          </a:prstGeom>
        </p:spPr>
      </p:pic>
      <p:pic>
        <p:nvPicPr>
          <p:cNvPr id="112" name="Рисунок 111"/>
          <p:cNvPicPr>
            <a:picLocks noChangeAspect="1"/>
          </p:cNvPicPr>
          <p:nvPr/>
        </p:nvPicPr>
        <p:blipFill rotWithShape="1">
          <a:blip r:embed="rId36"/>
          <a:srcRect l="34243" t="51296" r="32786" b="6747"/>
          <a:stretch/>
        </p:blipFill>
        <p:spPr>
          <a:xfrm>
            <a:off x="3041576" y="3214276"/>
            <a:ext cx="422470" cy="316034"/>
          </a:xfrm>
          <a:prstGeom prst="rect">
            <a:avLst/>
          </a:prstGeom>
        </p:spPr>
      </p:pic>
      <p:sp>
        <p:nvSpPr>
          <p:cNvPr id="114" name="Прямоугольник 113"/>
          <p:cNvSpPr/>
          <p:nvPr/>
        </p:nvSpPr>
        <p:spPr>
          <a:xfrm>
            <a:off x="3500763" y="3217689"/>
            <a:ext cx="76976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alat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argi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3511066" y="2849998"/>
            <a:ext cx="65915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ulpnay</a:t>
            </a:r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</a:p>
        </p:txBody>
      </p:sp>
      <p:pic>
        <p:nvPicPr>
          <p:cNvPr id="11265" name="Рисунок 11264"/>
          <p:cNvPicPr>
            <a:picLocks noChangeAspect="1"/>
          </p:cNvPicPr>
          <p:nvPr/>
        </p:nvPicPr>
        <p:blipFill rotWithShape="1">
          <a:blip r:embed="rId37"/>
          <a:srcRect l="8613" t="10408" r="72473" b="50474"/>
          <a:stretch/>
        </p:blipFill>
        <p:spPr>
          <a:xfrm>
            <a:off x="4228167" y="3197897"/>
            <a:ext cx="365816" cy="383118"/>
          </a:xfrm>
          <a:prstGeom prst="rect">
            <a:avLst/>
          </a:prstGeom>
        </p:spPr>
      </p:pic>
      <p:sp>
        <p:nvSpPr>
          <p:cNvPr id="211" name="Прямоугольник 210"/>
          <p:cNvSpPr/>
          <p:nvPr/>
        </p:nvSpPr>
        <p:spPr>
          <a:xfrm>
            <a:off x="4627080" y="3233952"/>
            <a:ext cx="5277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Yalpiz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14" name="Прямоугольник 213"/>
          <p:cNvSpPr/>
          <p:nvPr/>
        </p:nvSpPr>
        <p:spPr>
          <a:xfrm>
            <a:off x="4600911" y="2855063"/>
            <a:ext cx="54213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arom</a:t>
            </a:r>
            <a:endParaRPr lang="ru-RU" sz="10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17" name="Прямоугольник 216"/>
          <p:cNvSpPr/>
          <p:nvPr/>
        </p:nvSpPr>
        <p:spPr>
          <a:xfrm>
            <a:off x="3037608" y="2463495"/>
            <a:ext cx="1659207" cy="343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16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‘simlik</a:t>
            </a:r>
            <a:r>
              <a:rPr lang="en-US" sz="816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816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urlari</a:t>
            </a:r>
            <a:r>
              <a:rPr lang="en-US" sz="816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</a:p>
          <a:p>
            <a:r>
              <a:rPr lang="en-US" sz="816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(</a:t>
            </a:r>
            <a:r>
              <a:rPr lang="en-US" sz="816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asosiy</a:t>
            </a:r>
            <a:r>
              <a:rPr lang="en-US" sz="816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816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ro‘yxat</a:t>
            </a:r>
            <a:r>
              <a:rPr lang="en-US" sz="816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816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lova</a:t>
            </a:r>
            <a:r>
              <a:rPr lang="en-US" sz="816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816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qilinadi</a:t>
            </a:r>
            <a:r>
              <a:rPr lang="en-US" sz="816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)</a:t>
            </a:r>
            <a:endParaRPr lang="ru-RU" sz="816" i="1" dirty="0">
              <a:solidFill>
                <a:srgbClr val="FF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11270" name="Рисунок 11269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246531" y="2882508"/>
            <a:ext cx="289821" cy="247958"/>
          </a:xfrm>
          <a:prstGeom prst="rect">
            <a:avLst/>
          </a:prstGeom>
        </p:spPr>
      </p:pic>
      <p:sp>
        <p:nvSpPr>
          <p:cNvPr id="224" name="Прямоугольник 223"/>
          <p:cNvSpPr/>
          <p:nvPr/>
        </p:nvSpPr>
        <p:spPr>
          <a:xfrm>
            <a:off x="3038823" y="3476451"/>
            <a:ext cx="1659207" cy="217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16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otuv</a:t>
            </a:r>
            <a:r>
              <a:rPr lang="en-US" sz="816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816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rejasi</a:t>
            </a:r>
            <a:r>
              <a:rPr lang="en-US" sz="816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816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ylar</a:t>
            </a:r>
            <a:r>
              <a:rPr lang="en-US" sz="816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816" i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esimida</a:t>
            </a:r>
            <a:endParaRPr lang="en-US" sz="816" i="1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25" name="Прямоугольник 224"/>
          <p:cNvSpPr/>
          <p:nvPr/>
        </p:nvSpPr>
        <p:spPr>
          <a:xfrm>
            <a:off x="3048920" y="3691792"/>
            <a:ext cx="6783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-oy </a:t>
            </a:r>
          </a:p>
          <a:p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59 </a:t>
            </a:r>
            <a:r>
              <a:rPr lang="en-US" sz="10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na</a:t>
            </a:r>
            <a:endParaRPr lang="ru-RU" sz="1000" b="1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26" name="Прямоугольник 225"/>
          <p:cNvSpPr/>
          <p:nvPr/>
        </p:nvSpPr>
        <p:spPr>
          <a:xfrm>
            <a:off x="3681380" y="3691792"/>
            <a:ext cx="6783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2-oy </a:t>
            </a:r>
          </a:p>
          <a:p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214 </a:t>
            </a:r>
            <a:r>
              <a:rPr lang="en-US" sz="10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na</a:t>
            </a:r>
            <a:endParaRPr lang="ru-RU" sz="1000" b="1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27" name="Прямоугольник 226"/>
          <p:cNvSpPr/>
          <p:nvPr/>
        </p:nvSpPr>
        <p:spPr>
          <a:xfrm>
            <a:off x="4242979" y="3692390"/>
            <a:ext cx="6783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3-oy </a:t>
            </a:r>
          </a:p>
          <a:p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418 </a:t>
            </a:r>
            <a:r>
              <a:rPr lang="en-US" sz="10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na</a:t>
            </a:r>
            <a:endParaRPr lang="ru-RU" sz="1000" b="1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28" name="Прямоугольник 227"/>
          <p:cNvSpPr/>
          <p:nvPr/>
        </p:nvSpPr>
        <p:spPr>
          <a:xfrm>
            <a:off x="4799239" y="3699412"/>
            <a:ext cx="6783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6-oy </a:t>
            </a:r>
          </a:p>
          <a:p>
            <a:r>
              <a:rPr 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594 </a:t>
            </a:r>
            <a:r>
              <a:rPr lang="en-US" sz="10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ona</a:t>
            </a:r>
            <a:endParaRPr lang="ru-RU" sz="1000" b="1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cxnSp>
        <p:nvCxnSpPr>
          <p:cNvPr id="11275" name="Прямая соединительная линия 11274"/>
          <p:cNvCxnSpPr/>
          <p:nvPr/>
        </p:nvCxnSpPr>
        <p:spPr>
          <a:xfrm flipV="1">
            <a:off x="3694080" y="3750463"/>
            <a:ext cx="0" cy="293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Прямая соединительная линия 234"/>
          <p:cNvCxnSpPr/>
          <p:nvPr/>
        </p:nvCxnSpPr>
        <p:spPr>
          <a:xfrm flipV="1">
            <a:off x="4297330" y="3759405"/>
            <a:ext cx="0" cy="293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Прямая соединительная линия 235"/>
          <p:cNvCxnSpPr/>
          <p:nvPr/>
        </p:nvCxnSpPr>
        <p:spPr>
          <a:xfrm flipV="1">
            <a:off x="4856130" y="3753055"/>
            <a:ext cx="0" cy="293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TextBox 236">
            <a:extLst>
              <a:ext uri="{FF2B5EF4-FFF2-40B4-BE49-F238E27FC236}">
                <a16:creationId xmlns:a16="http://schemas.microsoft.com/office/drawing/2014/main" id="{4B0EFECA-2B7D-4848-AF95-EB8302063CDF}"/>
              </a:ext>
            </a:extLst>
          </p:cNvPr>
          <p:cNvSpPr txBox="1"/>
          <p:nvPr/>
        </p:nvSpPr>
        <p:spPr>
          <a:xfrm>
            <a:off x="8927067" y="7220496"/>
            <a:ext cx="15346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800" b="1" dirty="0">
              <a:solidFill>
                <a:schemeClr val="bg2">
                  <a:lumMod val="90000"/>
                </a:schemeClr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582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56,1,Slide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and End Slide Master">
  <a:themeElements>
    <a:clrScheme name="trave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DFB"/>
      </a:accent1>
      <a:accent2>
        <a:srgbClr val="1ED0A6"/>
      </a:accent2>
      <a:accent3>
        <a:srgbClr val="1C82FF"/>
      </a:accent3>
      <a:accent4>
        <a:srgbClr val="565874"/>
      </a:accent4>
      <a:accent5>
        <a:srgbClr val="00BDFB"/>
      </a:accent5>
      <a:accent6>
        <a:srgbClr val="1ED0A6"/>
      </a:accent6>
      <a:hlink>
        <a:srgbClr val="262626"/>
      </a:hlink>
      <a:folHlink>
        <a:srgbClr val="262626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215</TotalTime>
  <Words>286</Words>
  <Application>Microsoft Office PowerPoint</Application>
  <PresentationFormat>Custom</PresentationFormat>
  <Paragraphs>6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Arial Black</vt:lpstr>
      <vt:lpstr>Calibri</vt:lpstr>
      <vt:lpstr>Calibri Light</vt:lpstr>
      <vt:lpstr>Nirmala UI</vt:lpstr>
      <vt:lpstr>Segoe UI Black</vt:lpstr>
      <vt:lpstr>Times New Roman</vt:lpstr>
      <vt:lpstr>Verdana</vt:lpstr>
      <vt:lpstr>Cover and End Slide Master</vt:lpstr>
      <vt:lpstr>2_Office Theme</vt:lpstr>
      <vt:lpstr>think-cell Slide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Далиев А.Ш.</dc:creator>
  <cp:lastModifiedBy>Computer</cp:lastModifiedBy>
  <cp:revision>394</cp:revision>
  <cp:lastPrinted>2022-09-15T11:20:36Z</cp:lastPrinted>
  <dcterms:created xsi:type="dcterms:W3CDTF">2022-09-09T16:09:48Z</dcterms:created>
  <dcterms:modified xsi:type="dcterms:W3CDTF">2026-06-03T05:17:22Z</dcterms:modified>
</cp:coreProperties>
</file>